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E9E9E9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6" d="100"/>
          <a:sy n="66" d="100"/>
        </p:scale>
        <p:origin x="702" y="8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0324880C-E0A5-BE46-486F-49D57A0533BC}"/>
    <pc:docChg chg="modSld">
      <pc:chgData name="Christodoulou, Konstantinos" userId="S::kchristodoulou@internal.colt.net::81c234c6-6624-4c83-aac0-9aea992cfbe7" providerId="AD" clId="Web-{0324880C-E0A5-BE46-486F-49D57A0533BC}" dt="2019-02-05T09:10:19.018" v="7"/>
      <pc:docMkLst>
        <pc:docMk/>
      </pc:docMkLst>
      <pc:sldChg chg="modSp">
        <pc:chgData name="Christodoulou, Konstantinos" userId="S::kchristodoulou@internal.colt.net::81c234c6-6624-4c83-aac0-9aea992cfbe7" providerId="AD" clId="Web-{0324880C-E0A5-BE46-486F-49D57A0533BC}" dt="2019-02-05T09:10:19.018" v="7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0324880C-E0A5-BE46-486F-49D57A0533BC}" dt="2019-02-05T09:10:19.018" v="7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3ED318DE-027F-A345-6A87-C96304D32AC2}"/>
    <pc:docChg chg="modSld">
      <pc:chgData name="Christodoulou, Konstantinos" userId="S::kchristodoulou@internal.colt.net::81c234c6-6624-4c83-aac0-9aea992cfbe7" providerId="AD" clId="Web-{3ED318DE-027F-A345-6A87-C96304D32AC2}" dt="2019-02-05T08:54:03.756" v="55"/>
      <pc:docMkLst>
        <pc:docMk/>
      </pc:docMkLst>
      <pc:sldChg chg="modSp">
        <pc:chgData name="Christodoulou, Konstantinos" userId="S::kchristodoulou@internal.colt.net::81c234c6-6624-4c83-aac0-9aea992cfbe7" providerId="AD" clId="Web-{3ED318DE-027F-A345-6A87-C96304D32AC2}" dt="2019-02-05T08:54:03.756" v="5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3ED318DE-027F-A345-6A87-C96304D32AC2}" dt="2019-02-05T08:54:03.756" v="5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B06EF3E9-E90F-D412-3F07-FF89D09823E7}"/>
    <pc:docChg chg="modSld">
      <pc:chgData name="Christodoulou, Konstantinos" userId="S::kchristodoulou@internal.colt.net::81c234c6-6624-4c83-aac0-9aea992cfbe7" providerId="AD" clId="Web-{B06EF3E9-E90F-D412-3F07-FF89D09823E7}" dt="2018-11-06T11:56:56.835" v="16"/>
      <pc:docMkLst>
        <pc:docMk/>
      </pc:docMkLst>
      <pc:sldChg chg="modSp">
        <pc:chgData name="Christodoulou, Konstantinos" userId="S::kchristodoulou@internal.colt.net::81c234c6-6624-4c83-aac0-9aea992cfbe7" providerId="AD" clId="Web-{B06EF3E9-E90F-D412-3F07-FF89D09823E7}" dt="2018-11-06T11:56:56.835" v="16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B06EF3E9-E90F-D412-3F07-FF89D09823E7}" dt="2018-11-06T11:56:56.835" v="16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B06EF3E9-E90F-D412-3F07-FF89D09823E7}" dt="2018-11-06T11:56:09.367" v="0" actId="1076"/>
          <ac:picMkLst>
            <pc:docMk/>
            <pc:sldMk cId="214108182" sldId="386"/>
            <ac:picMk id="18" creationId="{00000000-0000-0000-0000-000000000000}"/>
          </ac:picMkLst>
        </pc:picChg>
      </pc:sldChg>
    </pc:docChg>
  </pc:docChgLst>
  <pc:docChgLst>
    <pc:chgData name="Christodoulou, Konstantinos" userId="S::kchristodoulou@internal.colt.net::81c234c6-6624-4c83-aac0-9aea992cfbe7" providerId="AD" clId="Web-{6D4281C7-BE2E-D47F-7022-DC01F7AD833A}"/>
    <pc:docChg chg="modSld">
      <pc:chgData name="Christodoulou, Konstantinos" userId="S::kchristodoulou@internal.colt.net::81c234c6-6624-4c83-aac0-9aea992cfbe7" providerId="AD" clId="Web-{6D4281C7-BE2E-D47F-7022-DC01F7AD833A}" dt="2018-10-31T16:38:22.327" v="171"/>
      <pc:docMkLst>
        <pc:docMk/>
      </pc:docMkLst>
      <pc:sldChg chg="modSp">
        <pc:chgData name="Christodoulou, Konstantinos" userId="S::kchristodoulou@internal.colt.net::81c234c6-6624-4c83-aac0-9aea992cfbe7" providerId="AD" clId="Web-{6D4281C7-BE2E-D47F-7022-DC01F7AD833A}" dt="2018-10-31T16:38:22.327" v="17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6D4281C7-BE2E-D47F-7022-DC01F7AD833A}" dt="2018-10-31T16:38:22.327" v="17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F978E4F4-5DC5-2A62-F7EB-141FE1150F7C}"/>
    <pc:docChg chg="modSld">
      <pc:chgData name="Christodoulou, Konstantinos" userId="S::kchristodoulou@internal.colt.net::81c234c6-6624-4c83-aac0-9aea992cfbe7" providerId="AD" clId="Web-{F978E4F4-5DC5-2A62-F7EB-141FE1150F7C}" dt="2019-02-05T10:03:23.188" v="13"/>
      <pc:docMkLst>
        <pc:docMk/>
      </pc:docMkLst>
      <pc:sldChg chg="modSp">
        <pc:chgData name="Christodoulou, Konstantinos" userId="S::kchristodoulou@internal.colt.net::81c234c6-6624-4c83-aac0-9aea992cfbe7" providerId="AD" clId="Web-{F978E4F4-5DC5-2A62-F7EB-141FE1150F7C}" dt="2019-02-05T10:03:23.188" v="1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F978E4F4-5DC5-2A62-F7EB-141FE1150F7C}" dt="2019-02-05T10:03:23.188" v="1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E8ACE985-D288-44B7-8F37-606A75487A97}"/>
    <pc:docChg chg="modSld">
      <pc:chgData name="Christodoulou, Konstantinos" userId="S::kchristodoulou@internal.colt.net::81c234c6-6624-4c83-aac0-9aea992cfbe7" providerId="AD" clId="Web-{E8ACE985-D288-44B7-8F37-606A75487A97}" dt="2018-12-28T11:25:19.607" v="5"/>
      <pc:docMkLst>
        <pc:docMk/>
      </pc:docMkLst>
      <pc:sldChg chg="modSp">
        <pc:chgData name="Christodoulou, Konstantinos" userId="S::kchristodoulou@internal.colt.net::81c234c6-6624-4c83-aac0-9aea992cfbe7" providerId="AD" clId="Web-{E8ACE985-D288-44B7-8F37-606A75487A97}" dt="2018-12-28T11:25:19.607" v="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E8ACE985-D288-44B7-8F37-606A75487A97}" dt="2018-12-28T11:25:19.607" v="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Germany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Germany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13467"/>
              </p:ext>
            </p:extLst>
          </p:nvPr>
        </p:nvGraphicFramePr>
        <p:xfrm>
          <a:off x="783771" y="910040"/>
          <a:ext cx="10903819" cy="5733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069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6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00–12:00 &amp; 06:00 – 08:00</a:t>
                      </a:r>
                      <a:endParaRPr lang="en-US" sz="1400" dirty="0"/>
                    </a:p>
                    <a:p>
                      <a:pPr lvl="0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CET (Mon-Fri)</a:t>
                      </a:r>
                      <a:endParaRPr lang="en-US" sz="1400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4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00–17:00 CET (Mon-Fri)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Excl bank holiday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Geo: Proof of Registration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: Number Allocation Letter</a:t>
                      </a:r>
                      <a:endParaRPr lang="en-GB" sz="1400" kern="1200" dirty="0"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:</a:t>
                      </a:r>
                      <a:r>
                        <a:rPr lang="en-GB" sz="1400" b="0" u="none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25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5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3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endParaRPr lang="en-GB" sz="1600" b="0" i="0" u="none" strike="noStrike" baseline="0" noProof="0" dirty="0">
                        <a:latin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none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0 working day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none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none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GermanyPortingDesk</a:t>
                      </a:r>
                      <a:r>
                        <a:rPr lang="en-GB" sz="14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r>
                        <a:rPr lang="en-GB" sz="1400" b="0" i="0" u="none" strike="noStrike" kern="1200" noProof="0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49 8000000045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805" y="3440414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385" y="3105557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59</_dlc_DocId>
    <_dlc_DocIdUrl xmlns="85bdb67a-68dc-4b72-be68-a086d460c31f">
      <Url>https://coltinternal.sharepoint.com/sites/pt/PortingInformation/_layouts/15/DocIdRedir.aspx?ID=DHQ4KNS6T2M2-2111369996-59</Url>
      <Description>DHQ4KNS6T2M2-2111369996-59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C5D53A-EF72-44FB-B769-265346381106}">
  <ds:schemaRefs>
    <ds:schemaRef ds:uri="http://schemas.microsoft.com/office/2006/metadata/properties"/>
    <ds:schemaRef ds:uri="http://schemas.microsoft.com/office/2006/documentManagement/types"/>
    <ds:schemaRef ds:uri="f1d1c7a4-d8f1-45db-9f4e-e74acd9c8e06"/>
    <ds:schemaRef ds:uri="http://purl.org/dc/dcmitype/"/>
    <ds:schemaRef ds:uri="85bdb67a-68dc-4b72-be68-a086d460c31f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7667FFC-CB26-499C-B6DE-7ECF49C4AE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6D8847-67B3-4796-B402-8222C0459A52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4C9FB2E-3114-48E0-8F4A-248A62446C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</Words>
  <Application>Microsoft Office PowerPoint</Application>
  <PresentationFormat>Widescreen</PresentationFormat>
  <Paragraphs>26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93</cp:revision>
  <dcterms:created xsi:type="dcterms:W3CDTF">2017-08-30T16:21:34Z</dcterms:created>
  <dcterms:modified xsi:type="dcterms:W3CDTF">2019-08-28T15:5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d77ddb9e-5124-416a-b458-1115fd58731e</vt:lpwstr>
  </property>
</Properties>
</file>